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52FD04-C810-7612-7070-A6BC23ACD9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8531E59-9834-B7DC-7CFD-2E6F5945BD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31E59-9834-B7DC-7CFD-2E6F5945B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BE4F45-E301-4F1B-2784-BB0F3DA7A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8D09167-52CC-FDFC-D3FB-B8B62C8A04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PH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24F253A-DE82-C264-097F-EF8D2514750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7B76BB1-7DDA-91BE-4657-CB509174E6F9}"/>
              </a:ext>
            </a:extLst>
          </p:cNvPr>
          <p:cNvGraphicFramePr>
            <a:graphicFrameLocks noGrp="1"/>
          </p:cNvGraphicFramePr>
          <p:nvPr/>
        </p:nvGraphicFramePr>
        <p:xfrm>
          <a:off x="762308" y="1586305"/>
          <a:ext cx="10667385" cy="4360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35489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1962454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1962454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7385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5</TotalTime>
  <Words>41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26</cp:revision>
  <dcterms:created xsi:type="dcterms:W3CDTF">2025-07-09T10:57:17Z</dcterms:created>
  <dcterms:modified xsi:type="dcterms:W3CDTF">2025-10-22T09:38:55Z</dcterms:modified>
  <cp:category/>
</cp:coreProperties>
</file>